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  <Override PartName="/ppt/charts/style3.xml" ContentType="application/vnd.ms-office.chartstyle+xml"/>
  <Override PartName="/ppt/charts/colors3.xml" ContentType="application/vnd.ms-office.chartcolorstyle+xml"/>
  <Override PartName="/ppt/charts/style4.xml" ContentType="application/vnd.ms-office.chartstyle+xml"/>
  <Override PartName="/ppt/charts/colors4.xml" ContentType="application/vnd.ms-office.chartcolorstyle+xml"/>
  <Override PartName="/ppt/charts/style5.xml" ContentType="application/vnd.ms-office.chartstyle+xml"/>
  <Override PartName="/ppt/charts/colors5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75" r:id="rId3"/>
    <p:sldId id="274" r:id="rId4"/>
    <p:sldId id="259" r:id="rId5"/>
    <p:sldId id="260" r:id="rId6"/>
    <p:sldId id="261" r:id="rId7"/>
    <p:sldId id="272" r:id="rId8"/>
    <p:sldId id="276" r:id="rId9"/>
    <p:sldId id="273" r:id="rId10"/>
    <p:sldId id="258" r:id="rId11"/>
  </p:sldIdLst>
  <p:sldSz cx="10688638" cy="7562850"/>
  <p:notesSz cx="6858000" cy="9144000"/>
  <p:defaultTextStyle>
    <a:defPPr>
      <a:defRPr lang="en-US"/>
    </a:defPPr>
    <a:lvl1pPr marL="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382">
          <p15:clr>
            <a:srgbClr val="A4A3A4"/>
          </p15:clr>
        </p15:guide>
        <p15:guide id="2" pos="336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9237" autoAdjust="0"/>
  </p:normalViewPr>
  <p:slideViewPr>
    <p:cSldViewPr snapToGrid="0" snapToObjects="1">
      <p:cViewPr varScale="1">
        <p:scale>
          <a:sx n="69" d="100"/>
          <a:sy n="69" d="100"/>
        </p:scale>
        <p:origin x="-904" y="-120"/>
      </p:cViewPr>
      <p:guideLst>
        <p:guide orient="horz" pos="2382"/>
        <p:guide pos="3367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printerSettings" Target="printerSettings/printerSettings1.bin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.xlsx"/><Relationship Id="rId2" Type="http://schemas.microsoft.com/office/2011/relationships/chartStyle" Target="style1.xml"/><Relationship Id="rId3" Type="http://schemas.microsoft.com/office/2011/relationships/chartColorStyle" Target="colors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.xlsx"/><Relationship Id="rId2" Type="http://schemas.microsoft.com/office/2011/relationships/chartStyle" Target="style2.xml"/><Relationship Id="rId3" Type="http://schemas.microsoft.com/office/2011/relationships/chartColorStyle" Target="colors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5.xlsx"/><Relationship Id="rId2" Type="http://schemas.microsoft.com/office/2011/relationships/chartStyle" Target="style3.xml"/><Relationship Id="rId3" Type="http://schemas.microsoft.com/office/2011/relationships/chartColorStyle" Target="colors3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6.xlsx"/><Relationship Id="rId2" Type="http://schemas.microsoft.com/office/2011/relationships/chartStyle" Target="style4.xml"/><Relationship Id="rId3" Type="http://schemas.microsoft.com/office/2011/relationships/chartColorStyle" Target="colors4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7.xlsx"/><Relationship Id="rId2" Type="http://schemas.microsoft.com/office/2011/relationships/chartStyle" Target="style5.xml"/><Relationship Id="rId3" Type="http://schemas.microsoft.com/office/2011/relationships/chartColorStyle" Target="colors5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9899071458386"/>
          <c:y val="0.0379601204072194"/>
          <c:w val="0.700108118688787"/>
          <c:h val="0.92407975918556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5</c:f>
              <c:strCache>
                <c:ptCount val="4"/>
                <c:pt idx="0">
                  <c:v>CINEMA</c:v>
                </c:pt>
                <c:pt idx="1">
                  <c:v>REVISTA</c:v>
                </c:pt>
                <c:pt idx="2">
                  <c:v>RADIO</c:v>
                </c:pt>
                <c:pt idx="3">
                  <c:v>TV ABERTA</c:v>
                </c:pt>
              </c:strCache>
            </c:strRef>
          </c:cat>
          <c:val>
            <c:numRef>
              <c:f>Plan1!$B$2:$B$5</c:f>
              <c:numCache>
                <c:formatCode>_(* #,##0.00,,_);_(* \(#,##0.00,,\);_(* "-"_);_(@_)</c:formatCode>
                <c:ptCount val="4"/>
                <c:pt idx="0">
                  <c:v>5670.0</c:v>
                </c:pt>
                <c:pt idx="1">
                  <c:v>22272</c:v>
                </c:pt>
                <c:pt idx="2">
                  <c:v>650795.6018137932</c:v>
                </c:pt>
                <c:pt idx="3">
                  <c:v>5.29147161272002E6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axId val="2117384184"/>
        <c:axId val="2118779464"/>
      </c:barChart>
      <c:catAx>
        <c:axId val="21173841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18779464"/>
        <c:crosses val="autoZero"/>
        <c:auto val="1"/>
        <c:lblAlgn val="ctr"/>
        <c:lblOffset val="100"/>
        <c:noMultiLvlLbl val="0"/>
      </c:catAx>
      <c:valAx>
        <c:axId val="2118779464"/>
        <c:scaling>
          <c:orientation val="minMax"/>
        </c:scaling>
        <c:delete val="1"/>
        <c:axPos val="b"/>
        <c:numFmt formatCode="_(* #,##0.00,,_);_(* \(#,##0.00,,\);_(* &quot;-&quot;_);_(@_)" sourceLinked="1"/>
        <c:majorTickMark val="none"/>
        <c:minorTickMark val="none"/>
        <c:tickLblPos val="nextTo"/>
        <c:crossAx val="2117384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95000"/>
              <a:lumOff val="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9899071458386"/>
          <c:y val="0.0379601204072194"/>
          <c:w val="0.660111713762373"/>
          <c:h val="0.92407975918556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5</c:f>
              <c:strCache>
                <c:ptCount val="4"/>
                <c:pt idx="0">
                  <c:v>REVISTA</c:v>
                </c:pt>
                <c:pt idx="1">
                  <c:v>JORNAL</c:v>
                </c:pt>
                <c:pt idx="2">
                  <c:v>RADIO</c:v>
                </c:pt>
                <c:pt idx="3">
                  <c:v>TV ABERTA</c:v>
                </c:pt>
              </c:strCache>
            </c:strRef>
          </c:cat>
          <c:val>
            <c:numRef>
              <c:f>Plan1!$B$2:$B$5</c:f>
              <c:numCache>
                <c:formatCode>_(* #,##0.00,,_);_(* \(#,##0.00,,\);_(* "-"_);_(@_)</c:formatCode>
                <c:ptCount val="4"/>
                <c:pt idx="0">
                  <c:v>62464</c:v>
                </c:pt>
                <c:pt idx="1">
                  <c:v>83607.99987792964</c:v>
                </c:pt>
                <c:pt idx="2">
                  <c:v>204828.4005260468</c:v>
                </c:pt>
                <c:pt idx="3">
                  <c:v>5.7016628906765E6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axId val="2118865896"/>
        <c:axId val="2118875528"/>
      </c:barChart>
      <c:catAx>
        <c:axId val="21188658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18875528"/>
        <c:crosses val="autoZero"/>
        <c:auto val="1"/>
        <c:lblAlgn val="ctr"/>
        <c:lblOffset val="100"/>
        <c:noMultiLvlLbl val="0"/>
      </c:catAx>
      <c:valAx>
        <c:axId val="2118875528"/>
        <c:scaling>
          <c:orientation val="minMax"/>
        </c:scaling>
        <c:delete val="1"/>
        <c:axPos val="b"/>
        <c:numFmt formatCode="_(* #,##0.00,,_);_(* \(#,##0.00,,\);_(* &quot;-&quot;_);_(@_)" sourceLinked="1"/>
        <c:majorTickMark val="none"/>
        <c:minorTickMark val="none"/>
        <c:tickLblPos val="nextTo"/>
        <c:crossAx val="21188658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95000"/>
              <a:lumOff val="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9"/>
    </mc:Choice>
    <mc:Fallback>
      <c:style val="9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043062108306"/>
          <c:y val="0.162752398452893"/>
          <c:w val="0.534807647583827"/>
          <c:h val="0.674495203094215"/>
        </c:manualLayout>
      </c:layout>
      <c:pie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Colunas1</c:v>
                </c:pt>
              </c:strCache>
            </c:strRef>
          </c:tx>
          <c:explosion val="25"/>
          <c:dPt>
            <c:idx val="0"/>
            <c:bubble3D val="0"/>
            <c:explosion val="14"/>
          </c:dPt>
          <c:dLbls>
            <c:dLbl>
              <c:idx val="0"/>
              <c:layout>
                <c:manualLayout>
                  <c:x val="0.00745222216071812"/>
                  <c:y val="-0.078009494671532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0770062956607529"/>
                  <c:y val="-0.0101751514788955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0124203702678634"/>
                  <c:y val="0.057659191713741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0496814810714535"/>
                  <c:y val="0.0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0.0223566664821541"/>
                  <c:y val="0.12888525206601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0596177772857442"/>
                  <c:y val="0.11531838342748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0.099362962142907"/>
                  <c:y val="0.078009494671532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0.0894266659286163"/>
                  <c:y val="0.0508757573944775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0.0869425918750436"/>
                  <c:y val="-0.0033919842239751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0.054649824774981"/>
                  <c:y val="-0.0305254544366865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0.0422292589107355"/>
                  <c:y val="-0.061050989957715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-0.0173885183750087"/>
                  <c:y val="0.020350302957791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Plan1!$A$2:$A$12</c:f>
              <c:strCache>
                <c:ptCount val="11"/>
                <c:pt idx="0">
                  <c:v>EMBARE</c:v>
                </c:pt>
                <c:pt idx="1">
                  <c:v>ITAMBE</c:v>
                </c:pt>
                <c:pt idx="2">
                  <c:v>DPA</c:v>
                </c:pt>
                <c:pt idx="3">
                  <c:v>IND COM LATICINIOS QUATA</c:v>
                </c:pt>
                <c:pt idx="4">
                  <c:v>NESTLE</c:v>
                </c:pt>
                <c:pt idx="5">
                  <c:v>YAKULT</c:v>
                </c:pt>
                <c:pt idx="6">
                  <c:v>LATICINIOS PORTO ALEGRE</c:v>
                </c:pt>
                <c:pt idx="7">
                  <c:v>DANONE</c:v>
                </c:pt>
                <c:pt idx="8">
                  <c:v>PEPSICO</c:v>
                </c:pt>
                <c:pt idx="9">
                  <c:v>CEMIL COOP MINEIRA</c:v>
                </c:pt>
                <c:pt idx="10">
                  <c:v>OUTROS</c:v>
                </c:pt>
              </c:strCache>
            </c:strRef>
          </c:cat>
          <c:val>
            <c:numRef>
              <c:f>Plan1!$B$2:$B$12</c:f>
              <c:numCache>
                <c:formatCode>"R$"_(* #,##0.000,,_);_(* \(#,##0.000,,\);_(* "-"_);_(@_)</c:formatCode>
                <c:ptCount val="11"/>
                <c:pt idx="0">
                  <c:v>1.032362002388E6</c:v>
                </c:pt>
                <c:pt idx="1">
                  <c:v>901360.3053283717</c:v>
                </c:pt>
                <c:pt idx="2">
                  <c:v>873012.0005035405</c:v>
                </c:pt>
                <c:pt idx="3">
                  <c:v>651324.5706329348</c:v>
                </c:pt>
                <c:pt idx="4">
                  <c:v>611822.804611206</c:v>
                </c:pt>
                <c:pt idx="5">
                  <c:v>602588.80859375</c:v>
                </c:pt>
                <c:pt idx="6">
                  <c:v>369716.7281570437</c:v>
                </c:pt>
                <c:pt idx="7">
                  <c:v>351969.8425502777</c:v>
                </c:pt>
                <c:pt idx="8">
                  <c:v>232174.7160415653</c:v>
                </c:pt>
                <c:pt idx="9">
                  <c:v>202913.0363330842</c:v>
                </c:pt>
                <c:pt idx="10">
                  <c:v>129997.999347686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9"/>
    </mc:Choice>
    <mc:Fallback>
      <c:style val="9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0708475523753"/>
          <c:y val="0.231967559473064"/>
          <c:w val="0.568391741998983"/>
          <c:h val="0.718085692610687"/>
        </c:manualLayout>
      </c:layout>
      <c:pie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Colunas1</c:v>
                </c:pt>
              </c:strCache>
            </c:strRef>
          </c:tx>
          <c:explosion val="25"/>
          <c:dPt>
            <c:idx val="0"/>
            <c:bubble3D val="0"/>
            <c:explosion val="14"/>
          </c:dPt>
          <c:dLbls>
            <c:dLbl>
              <c:idx val="0"/>
              <c:layout>
                <c:manualLayout>
                  <c:x val="0.00745222216071812"/>
                  <c:y val="-0.078009494671532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397451848571628"/>
                  <c:y val="0.068282021058666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0745222216071803"/>
                  <c:y val="0.0859038892554345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56496665375079"/>
                  <c:y val="0.1618858403821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0.218598516714395"/>
                  <c:y val="0.160268262005194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223566664821541"/>
                  <c:y val="0.061967386496457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0.248407405357268"/>
                  <c:y val="-0.0914581680788971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0.122115515702575"/>
                  <c:y val="-0.087872115923979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0.0181302198562014"/>
                  <c:y val="-0.10153652648148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0.211146098957295"/>
                  <c:y val="-0.069042376797412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0.300572960482294"/>
                  <c:y val="0.059627507234128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0.332865923178738"/>
                  <c:y val="0.15691449272139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vertOverflow="overflow" horzOverflow="overflow">
                <a:spAutoFit/>
              </a:bodyPr>
              <a:lstStyle/>
              <a:p>
                <a:pPr>
                  <a:defRPr sz="8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12</c:f>
              <c:strCache>
                <c:ptCount val="11"/>
                <c:pt idx="0">
                  <c:v>NESTLE</c:v>
                </c:pt>
                <c:pt idx="1">
                  <c:v>DPA</c:v>
                </c:pt>
                <c:pt idx="2">
                  <c:v>EMBARE</c:v>
                </c:pt>
                <c:pt idx="3">
                  <c:v>YAKULT</c:v>
                </c:pt>
                <c:pt idx="4">
                  <c:v>ITAMBE</c:v>
                </c:pt>
                <c:pt idx="5">
                  <c:v>COOP AGRO PECUARIA DE DIVINOPOLIS</c:v>
                </c:pt>
                <c:pt idx="6">
                  <c:v>TREVO ALIMENTOS</c:v>
                </c:pt>
                <c:pt idx="7">
                  <c:v>LATICINIOS BELA VISTA</c:v>
                </c:pt>
                <c:pt idx="8">
                  <c:v>PEPSICO</c:v>
                </c:pt>
                <c:pt idx="9">
                  <c:v>MOCOCA PRODS ALIMENTICIOS</c:v>
                </c:pt>
                <c:pt idx="10">
                  <c:v>CEMIL COOP MINEIRA</c:v>
                </c:pt>
              </c:strCache>
            </c:strRef>
          </c:cat>
          <c:val>
            <c:numRef>
              <c:f>Plan1!$B$2:$B$12</c:f>
              <c:numCache>
                <c:formatCode>"R$"_(* #,##0.00,,_);_(* \(#,##0.00,,\);_(* "-"_);_(@_)</c:formatCode>
                <c:ptCount val="11"/>
                <c:pt idx="0">
                  <c:v>3.74119959963274E6</c:v>
                </c:pt>
                <c:pt idx="1">
                  <c:v>644212.8078174591</c:v>
                </c:pt>
                <c:pt idx="2">
                  <c:v>600766.4069824216</c:v>
                </c:pt>
                <c:pt idx="3">
                  <c:v>326733.4296875005</c:v>
                </c:pt>
                <c:pt idx="4">
                  <c:v>289925.8474564552</c:v>
                </c:pt>
                <c:pt idx="5">
                  <c:v>118460.8004760743</c:v>
                </c:pt>
                <c:pt idx="6">
                  <c:v>97764.7998046875</c:v>
                </c:pt>
                <c:pt idx="7">
                  <c:v>89031.59889221197</c:v>
                </c:pt>
                <c:pt idx="8">
                  <c:v>85529.60021972655</c:v>
                </c:pt>
                <c:pt idx="9">
                  <c:v>35606.39984130862</c:v>
                </c:pt>
                <c:pt idx="10">
                  <c:v>22598.4002685546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8645551286301"/>
          <c:y val="0.0"/>
          <c:w val="0.60877372532355"/>
          <c:h val="0.96298058985143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Colunas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4</c:f>
              <c:strCache>
                <c:ptCount val="3"/>
                <c:pt idx="0">
                  <c:v>TV ABERTA</c:v>
                </c:pt>
                <c:pt idx="1">
                  <c:v>RADIO</c:v>
                </c:pt>
                <c:pt idx="2">
                  <c:v>REVISTA</c:v>
                </c:pt>
              </c:strCache>
            </c:strRef>
          </c:cat>
          <c:val>
            <c:numRef>
              <c:f>Plan1!$B$2:$B$4</c:f>
              <c:numCache>
                <c:formatCode>_-* #,##0_-;\-* #,##0_-;_-* "-"??_-;_-@_-</c:formatCode>
                <c:ptCount val="3"/>
                <c:pt idx="0">
                  <c:v>173719.0361328126</c:v>
                </c:pt>
                <c:pt idx="1">
                  <c:v>21770.00020027162</c:v>
                </c:pt>
                <c:pt idx="2">
                  <c:v>7424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axId val="2118947912"/>
        <c:axId val="2118957560"/>
      </c:barChart>
      <c:catAx>
        <c:axId val="211894791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118957560"/>
        <c:crosses val="autoZero"/>
        <c:auto val="1"/>
        <c:lblAlgn val="ctr"/>
        <c:lblOffset val="100"/>
        <c:noMultiLvlLbl val="0"/>
      </c:catAx>
      <c:valAx>
        <c:axId val="2118957560"/>
        <c:scaling>
          <c:orientation val="minMax"/>
        </c:scaling>
        <c:delete val="1"/>
        <c:axPos val="t"/>
        <c:numFmt formatCode="_-* #,##0_-;\-* #,##0_-;_-* &quot;-&quot;??_-;_-@_-" sourceLinked="1"/>
        <c:majorTickMark val="none"/>
        <c:minorTickMark val="none"/>
        <c:tickLblPos val="nextTo"/>
        <c:crossAx val="21189479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latin typeface="+mj-lt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429668918964"/>
          <c:y val="0.0"/>
          <c:w val="0.60877372532355"/>
          <c:h val="0.96298058985143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Colunas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3</c:f>
              <c:strCache>
                <c:ptCount val="2"/>
                <c:pt idx="0">
                  <c:v>TV ABERTA</c:v>
                </c:pt>
                <c:pt idx="1">
                  <c:v>JORNAL</c:v>
                </c:pt>
              </c:strCache>
            </c:strRef>
          </c:cat>
          <c:val>
            <c:numRef>
              <c:f>Plan1!$B$2:$B$3</c:f>
              <c:numCache>
                <c:formatCode>_-* #,##0_-;\-* #,##0_-;_-* "-"??_-;_-@_-</c:formatCode>
                <c:ptCount val="2"/>
                <c:pt idx="0">
                  <c:v>14750.400390625</c:v>
                </c:pt>
                <c:pt idx="1">
                  <c:v>7847.999877929677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axId val="2118988376"/>
        <c:axId val="2118997848"/>
      </c:barChart>
      <c:catAx>
        <c:axId val="211898837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118997848"/>
        <c:crosses val="autoZero"/>
        <c:auto val="1"/>
        <c:lblAlgn val="ctr"/>
        <c:lblOffset val="100"/>
        <c:noMultiLvlLbl val="0"/>
      </c:catAx>
      <c:valAx>
        <c:axId val="2118997848"/>
        <c:scaling>
          <c:orientation val="minMax"/>
        </c:scaling>
        <c:delete val="1"/>
        <c:axPos val="t"/>
        <c:numFmt formatCode="_-* #,##0_-;\-* #,##0_-;_-* &quot;-&quot;??_-;_-@_-" sourceLinked="1"/>
        <c:majorTickMark val="none"/>
        <c:minorTickMark val="none"/>
        <c:tickLblPos val="nextTo"/>
        <c:crossAx val="21189883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latin typeface="+mj-lt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487758540063"/>
          <c:y val="0.233124463610644"/>
          <c:w val="0.371072969082282"/>
          <c:h val="0.641670290702373"/>
        </c:manualLayout>
      </c:layout>
      <c:pie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Investimento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1">
                      <a:tint val="50000"/>
                      <a:shade val="100000"/>
                      <a:satMod val="350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2">
                      <a:tint val="50000"/>
                      <a:shade val="100000"/>
                      <a:satMod val="350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3">
                      <a:tint val="50000"/>
                      <a:shade val="100000"/>
                      <a:satMod val="350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4">
                      <a:tint val="50000"/>
                      <a:shade val="100000"/>
                      <a:satMod val="350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5">
                      <a:tint val="50000"/>
                      <a:shade val="100000"/>
                      <a:satMod val="350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0.0239733936176731"/>
                  <c:y val="0.0669186021498768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63992151305733"/>
                  <c:y val="-0.0567000805128237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152649654354774"/>
                  <c:y val="0.105660020773538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16755545745561"/>
                  <c:y val="-0.0880741417713713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.131704289394156"/>
                  <c:y val="-0.0967541694898678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Plan1!$A$2:$A$6</c:f>
              <c:strCache>
                <c:ptCount val="5"/>
                <c:pt idx="0">
                  <c:v>BANDEIRANTES</c:v>
                </c:pt>
                <c:pt idx="1">
                  <c:v>GLOBO</c:v>
                </c:pt>
                <c:pt idx="2">
                  <c:v>SBT</c:v>
                </c:pt>
                <c:pt idx="3">
                  <c:v>RECORD</c:v>
                </c:pt>
                <c:pt idx="4">
                  <c:v>TV!</c:v>
                </c:pt>
              </c:strCache>
            </c:strRef>
          </c:cat>
          <c:val>
            <c:numRef>
              <c:f>Plan1!$B$2:$B$6</c:f>
              <c:numCache>
                <c:formatCode>_-* #,##0_-;\-* #,##0_-;_-* "-"??_-;_-@_-</c:formatCode>
                <c:ptCount val="5"/>
                <c:pt idx="0">
                  <c:v>2.41027917949677E6</c:v>
                </c:pt>
                <c:pt idx="1">
                  <c:v>2.2986797003212E6</c:v>
                </c:pt>
                <c:pt idx="2">
                  <c:v>887896.0085010529</c:v>
                </c:pt>
                <c:pt idx="3">
                  <c:v>94646.40201568605</c:v>
                </c:pt>
                <c:pt idx="4">
                  <c:v>10161.6003417968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Share de Investimento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Plan1!$A$2</c:f>
              <c:strCache>
                <c:ptCount val="1"/>
                <c:pt idx="0">
                  <c:v>Globo</c:v>
                </c:pt>
              </c:strCache>
            </c:strRef>
          </c:cat>
          <c:val>
            <c:numRef>
              <c:f>Plan1!$B$2</c:f>
              <c:numCache>
                <c:formatCode>0.0%</c:formatCode>
                <c:ptCount val="1"/>
                <c:pt idx="0">
                  <c:v>1.0</c:v>
                </c:pt>
              </c:numCache>
            </c:numRef>
          </c:val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Share de Audiência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Plan1!$A$2</c:f>
              <c:strCache>
                <c:ptCount val="1"/>
                <c:pt idx="0">
                  <c:v>Globo</c:v>
                </c:pt>
              </c:strCache>
            </c:strRef>
          </c:cat>
          <c:val>
            <c:numRef>
              <c:f>Plan1!$C$2</c:f>
              <c:numCache>
                <c:formatCode>0.0%</c:formatCode>
                <c:ptCount val="1"/>
                <c:pt idx="0">
                  <c:v>0.3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1"/>
        <c:axId val="2119138984"/>
        <c:axId val="2119142168"/>
      </c:barChart>
      <c:scatterChart>
        <c:scatterStyle val="lineMarker"/>
        <c:varyColors val="0"/>
        <c:ser>
          <c:idx val="2"/>
          <c:order val="2"/>
          <c:tx>
            <c:strRef>
              <c:f>Plan1!$D$1</c:f>
              <c:strCache>
                <c:ptCount val="1"/>
                <c:pt idx="0">
                  <c:v>Índice</c:v>
                </c:pt>
              </c:strCache>
            </c:strRef>
          </c:tx>
          <c:spPr>
            <a:ln w="28575">
              <a:noFill/>
            </a:ln>
          </c:spPr>
          <c:marker>
            <c:symbol val="circle"/>
            <c:size val="17"/>
          </c:marker>
          <c:dLbls>
            <c:dLbl>
              <c:idx val="0"/>
              <c:layout>
                <c:manualLayout>
                  <c:x val="-0.041458855892181"/>
                  <c:y val="-0.080617936390906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507363621058159"/>
                  <c:y val="-0.11223500419145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0386904774857545"/>
                  <c:y val="-0.06753061826477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0.0442176885551479"/>
                  <c:y val="-0.07463910439791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0.0313208627265632"/>
                  <c:y val="-0.10307304893045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Plan1!$A$2</c:f>
              <c:strCache>
                <c:ptCount val="1"/>
                <c:pt idx="0">
                  <c:v>Globo</c:v>
                </c:pt>
              </c:strCache>
            </c:strRef>
          </c:xVal>
          <c:yVal>
            <c:numRef>
              <c:f>Plan1!$D$2</c:f>
              <c:numCache>
                <c:formatCode>0</c:formatCode>
                <c:ptCount val="1"/>
                <c:pt idx="0">
                  <c:v>253.8071065989848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19148776"/>
        <c:axId val="2119145528"/>
      </c:scatterChart>
      <c:catAx>
        <c:axId val="211913898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2119142168"/>
        <c:crosses val="autoZero"/>
        <c:auto val="1"/>
        <c:lblAlgn val="ctr"/>
        <c:lblOffset val="100"/>
        <c:noMultiLvlLbl val="0"/>
      </c:catAx>
      <c:valAx>
        <c:axId val="2119142168"/>
        <c:scaling>
          <c:orientation val="minMax"/>
        </c:scaling>
        <c:delete val="0"/>
        <c:axPos val="l"/>
        <c:numFmt formatCode="0.0%" sourceLinked="1"/>
        <c:majorTickMark val="out"/>
        <c:minorTickMark val="none"/>
        <c:tickLblPos val="nextTo"/>
        <c:spPr>
          <a:ln>
            <a:solidFill>
              <a:schemeClr val="bg1"/>
            </a:solidFill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en-US"/>
          </a:p>
        </c:txPr>
        <c:crossAx val="2119138984"/>
        <c:crosses val="autoZero"/>
        <c:crossBetween val="between"/>
      </c:valAx>
      <c:valAx>
        <c:axId val="2119145528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ln>
            <a:solidFill>
              <a:schemeClr val="bg1"/>
            </a:solidFill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en-US"/>
          </a:p>
        </c:txPr>
        <c:crossAx val="2119148776"/>
        <c:crosses val="max"/>
        <c:crossBetween val="midCat"/>
      </c:valAx>
      <c:valAx>
        <c:axId val="2119148776"/>
        <c:scaling>
          <c:orientation val="minMax"/>
        </c:scaling>
        <c:delete val="1"/>
        <c:axPos val="b"/>
        <c:majorTickMark val="out"/>
        <c:minorTickMark val="none"/>
        <c:tickLblPos val="nextTo"/>
        <c:crossAx val="2119145528"/>
        <c:crosses val="autoZero"/>
        <c:crossBetween val="midCat"/>
      </c:valAx>
    </c:plotArea>
    <c:legend>
      <c:legendPos val="b"/>
      <c:layout/>
      <c:overlay val="0"/>
      <c:txPr>
        <a:bodyPr/>
        <a:lstStyle/>
        <a:p>
          <a:pPr>
            <a:defRPr sz="1200">
              <a:latin typeface="Arial" panose="020B0604020202020204" pitchFamily="34" charset="0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Share de Investimento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Plan1!$A$2</c:f>
              <c:strCache>
                <c:ptCount val="1"/>
                <c:pt idx="0">
                  <c:v>Sbt</c:v>
                </c:pt>
              </c:strCache>
            </c:strRef>
          </c:cat>
          <c:val>
            <c:numRef>
              <c:f>Plan1!$B$2</c:f>
              <c:numCache>
                <c:formatCode>0.0%</c:formatCode>
                <c:ptCount val="1"/>
                <c:pt idx="0">
                  <c:v>1.0</c:v>
                </c:pt>
              </c:numCache>
            </c:numRef>
          </c:val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Share de Audiência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Plan1!$A$2</c:f>
              <c:strCache>
                <c:ptCount val="1"/>
                <c:pt idx="0">
                  <c:v>Sbt</c:v>
                </c:pt>
              </c:strCache>
            </c:strRef>
          </c:cat>
          <c:val>
            <c:numRef>
              <c:f>Plan1!$C$2</c:f>
              <c:numCache>
                <c:formatCode>0.0%</c:formatCode>
                <c:ptCount val="1"/>
                <c:pt idx="0">
                  <c:v>0.13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1"/>
        <c:axId val="2118470456"/>
        <c:axId val="2118467256"/>
      </c:barChart>
      <c:scatterChart>
        <c:scatterStyle val="lineMarker"/>
        <c:varyColors val="0"/>
        <c:ser>
          <c:idx val="2"/>
          <c:order val="2"/>
          <c:tx>
            <c:strRef>
              <c:f>Plan1!$D$1</c:f>
              <c:strCache>
                <c:ptCount val="1"/>
                <c:pt idx="0">
                  <c:v>Índice</c:v>
                </c:pt>
              </c:strCache>
            </c:strRef>
          </c:tx>
          <c:spPr>
            <a:ln w="28575">
              <a:noFill/>
            </a:ln>
          </c:spPr>
          <c:marker>
            <c:symbol val="circle"/>
            <c:size val="17"/>
          </c:marker>
          <c:dLbls>
            <c:dLbl>
              <c:idx val="0"/>
              <c:layout>
                <c:manualLayout>
                  <c:x val="-0.041458855892181"/>
                  <c:y val="-0.080617936390906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507363621058159"/>
                  <c:y val="-0.11223500419145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0.0386904774857545"/>
                  <c:y val="-0.06753061826477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0.0442176885551479"/>
                  <c:y val="-0.07463910439791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0.0313208627265632"/>
                  <c:y val="-0.10307304893045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Plan1!$A$2</c:f>
              <c:strCache>
                <c:ptCount val="1"/>
                <c:pt idx="0">
                  <c:v>Sbt</c:v>
                </c:pt>
              </c:strCache>
            </c:strRef>
          </c:xVal>
          <c:yVal>
            <c:numRef>
              <c:f>Plan1!$D$2</c:f>
              <c:numCache>
                <c:formatCode>0</c:formatCode>
                <c:ptCount val="1"/>
                <c:pt idx="0">
                  <c:v>763.3587786259542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18460648"/>
        <c:axId val="2118463896"/>
      </c:scatterChart>
      <c:catAx>
        <c:axId val="21184704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2118467256"/>
        <c:crosses val="autoZero"/>
        <c:auto val="1"/>
        <c:lblAlgn val="ctr"/>
        <c:lblOffset val="100"/>
        <c:noMultiLvlLbl val="0"/>
      </c:catAx>
      <c:valAx>
        <c:axId val="2118467256"/>
        <c:scaling>
          <c:orientation val="minMax"/>
        </c:scaling>
        <c:delete val="0"/>
        <c:axPos val="l"/>
        <c:numFmt formatCode="0.0%" sourceLinked="1"/>
        <c:majorTickMark val="out"/>
        <c:minorTickMark val="none"/>
        <c:tickLblPos val="nextTo"/>
        <c:spPr>
          <a:ln>
            <a:solidFill>
              <a:schemeClr val="bg1"/>
            </a:solidFill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en-US"/>
          </a:p>
        </c:txPr>
        <c:crossAx val="2118470456"/>
        <c:crosses val="autoZero"/>
        <c:crossBetween val="between"/>
      </c:valAx>
      <c:valAx>
        <c:axId val="2118463896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ln>
            <a:solidFill>
              <a:schemeClr val="bg1"/>
            </a:solidFill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en-US"/>
          </a:p>
        </c:txPr>
        <c:crossAx val="2118460648"/>
        <c:crosses val="max"/>
        <c:crossBetween val="midCat"/>
      </c:valAx>
      <c:valAx>
        <c:axId val="2118460648"/>
        <c:scaling>
          <c:orientation val="minMax"/>
        </c:scaling>
        <c:delete val="1"/>
        <c:axPos val="b"/>
        <c:majorTickMark val="out"/>
        <c:minorTickMark val="none"/>
        <c:tickLblPos val="nextTo"/>
        <c:crossAx val="2118463896"/>
        <c:crosses val="autoZero"/>
        <c:crossBetween val="midCat"/>
      </c:valAx>
    </c:plotArea>
    <c:legend>
      <c:legendPos val="b"/>
      <c:layout/>
      <c:overlay val="0"/>
      <c:txPr>
        <a:bodyPr/>
        <a:lstStyle/>
        <a:p>
          <a:pPr>
            <a:defRPr sz="1200">
              <a:latin typeface="Arial" panose="020B0604020202020204" pitchFamily="34" charset="0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648" y="2349386"/>
            <a:ext cx="9085342" cy="162111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3296" y="4285615"/>
            <a:ext cx="7482047" cy="19327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-2778" y="7123942"/>
            <a:ext cx="3774678" cy="40265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smtClean="0"/>
              <a:t>Inteligência de Mercado Grupo Bandeirante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844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24/10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872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59363" y="334377"/>
            <a:ext cx="2809479" cy="7116431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5361" y="334377"/>
            <a:ext cx="8255859" cy="7116431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24/10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5924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7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329" y="4859832"/>
            <a:ext cx="9085342" cy="150206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329" y="3205459"/>
            <a:ext cx="9085342" cy="1654373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3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7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3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7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1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6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50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4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24/10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341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5361" y="1946734"/>
            <a:ext cx="5531741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5245" y="1946734"/>
            <a:ext cx="5533597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24/10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226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</p:spPr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692889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432" y="2398404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29680" y="1692889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29680" y="2398404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24/10/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195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24/10/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8221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046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3" y="301113"/>
            <a:ext cx="3516488" cy="1281483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8960" y="301114"/>
            <a:ext cx="5975246" cy="6454683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433" y="1582597"/>
            <a:ext cx="3516488" cy="5173200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24/10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242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048" y="5293995"/>
            <a:ext cx="6413183" cy="62498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048" y="675755"/>
            <a:ext cx="6413183" cy="4537710"/>
          </a:xfrm>
        </p:spPr>
        <p:txBody>
          <a:bodyPr/>
          <a:lstStyle>
            <a:lvl1pPr marL="0" indent="0">
              <a:buNone/>
              <a:defRPr sz="3600"/>
            </a:lvl1pPr>
            <a:lvl2pPr marL="521437" indent="0">
              <a:buNone/>
              <a:defRPr sz="3200"/>
            </a:lvl2pPr>
            <a:lvl3pPr marL="1042873" indent="0">
              <a:buNone/>
              <a:defRPr sz="2700"/>
            </a:lvl3pPr>
            <a:lvl4pPr marL="1564310" indent="0">
              <a:buNone/>
              <a:defRPr sz="2300"/>
            </a:lvl4pPr>
            <a:lvl5pPr marL="2085746" indent="0">
              <a:buNone/>
              <a:defRPr sz="2300"/>
            </a:lvl5pPr>
            <a:lvl6pPr marL="2607183" indent="0">
              <a:buNone/>
              <a:defRPr sz="2300"/>
            </a:lvl6pPr>
            <a:lvl7pPr marL="3128620" indent="0">
              <a:buNone/>
              <a:defRPr sz="2300"/>
            </a:lvl7pPr>
            <a:lvl8pPr marL="3650056" indent="0">
              <a:buNone/>
              <a:defRPr sz="2300"/>
            </a:lvl8pPr>
            <a:lvl9pPr marL="4171493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048" y="5918981"/>
            <a:ext cx="6413183" cy="887584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24/10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7800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1.xml"/><Relationship Id="rId15" Type="http://schemas.openxmlformats.org/officeDocument/2006/relationships/oleObject" Target="../embeddings/oleObject1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JPG"/><Relationship Id="rId19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36749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" name="Slide do think-cell" r:id="rId15" imgW="270" imgH="270" progId="TCLayout.ActiveDocument.1">
                  <p:embed/>
                </p:oleObj>
              </mc:Choice>
              <mc:Fallback>
                <p:oleObj name="Slide do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764666"/>
            <a:ext cx="9619774" cy="4991131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432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43F105-2278-3846-BF6D-56A38DBB0301}" type="datetimeFigureOut">
              <a:rPr lang="en-US" smtClean="0"/>
              <a:t>24/10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1952" y="7009642"/>
            <a:ext cx="3384735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60190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6" descr="OLHO BAND copy.png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0850" y="198438"/>
            <a:ext cx="893763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m 8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29"/>
            <a:ext cx="10688638" cy="7556392"/>
          </a:xfrm>
          <a:prstGeom prst="rect">
            <a:avLst/>
          </a:prstGeom>
        </p:spPr>
      </p:pic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31512" y="7123942"/>
            <a:ext cx="3774678" cy="402652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smtClean="0"/>
              <a:t>Inteligência de Mercado Grupo Bandeirantes</a:t>
            </a:r>
            <a:endParaRPr lang="en-US" sz="1400" dirty="0"/>
          </a:p>
        </p:txBody>
      </p:sp>
      <p:pic>
        <p:nvPicPr>
          <p:cNvPr id="13" name="Picture 73" descr="http://www.astronautasfx.com/img/capa/leite_cemil.jpg"/>
          <p:cNvPicPr>
            <a:picLocks noChangeAspect="1" noChangeArrowheads="1"/>
          </p:cNvPicPr>
          <p:nvPr userDrawn="1"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005" t="27635" r="4844" b="18605"/>
          <a:stretch/>
        </p:blipFill>
        <p:spPr bwMode="auto">
          <a:xfrm>
            <a:off x="694947" y="198438"/>
            <a:ext cx="1236723" cy="626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7327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521437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77" indent="-391077" algn="l" defTabSz="521437" rtl="0" eaLnBrk="1" latinLnBrk="0" hangingPunct="1">
        <a:spcBef>
          <a:spcPct val="20000"/>
        </a:spcBef>
        <a:buFont typeface="Arial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7334" indent="-325898" algn="l" defTabSz="521437" rtl="0" eaLnBrk="1" latinLnBrk="0" hangingPunct="1">
        <a:spcBef>
          <a:spcPct val="20000"/>
        </a:spcBef>
        <a:buFont typeface="Arial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92" indent="-260718" algn="l" defTabSz="521437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028" indent="-260718" algn="l" defTabSz="521437" rtl="0" eaLnBrk="1" latinLnBrk="0" hangingPunct="1">
        <a:spcBef>
          <a:spcPct val="20000"/>
        </a:spcBef>
        <a:buFont typeface="Arial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465" indent="-260718" algn="l" defTabSz="521437" rtl="0" eaLnBrk="1" latinLnBrk="0" hangingPunct="1">
        <a:spcBef>
          <a:spcPct val="20000"/>
        </a:spcBef>
        <a:buFont typeface="Arial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6" Type="http://schemas.openxmlformats.org/officeDocument/2006/relationships/image" Target="../media/image4.jpeg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Relationship Id="rId3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3.xml"/><Relationship Id="rId3" Type="http://schemas.openxmlformats.org/officeDocument/2006/relationships/chart" Target="../charts/char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5.xml"/><Relationship Id="rId3" Type="http://schemas.openxmlformats.org/officeDocument/2006/relationships/chart" Target="../charts/char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8.xml"/><Relationship Id="rId3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6703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aixaDeTexto 4"/>
          <p:cNvSpPr txBox="1"/>
          <p:nvPr/>
        </p:nvSpPr>
        <p:spPr>
          <a:xfrm>
            <a:off x="5345113" y="1062990"/>
            <a:ext cx="53714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Inteligência de Mercado </a:t>
            </a:r>
          </a:p>
          <a:p>
            <a:pPr algn="ctr"/>
            <a:r>
              <a:rPr lang="pt-BR" sz="24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Grupo Bandeirantes</a:t>
            </a:r>
            <a:endParaRPr lang="pt-BR" sz="24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5401147" y="4521315"/>
            <a:ext cx="52365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Informações de Mídia e </a:t>
            </a:r>
            <a:r>
              <a:rPr lang="pt-BR" sz="24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Mercado</a:t>
            </a:r>
            <a:endParaRPr lang="pt-BR" sz="24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6663283" y="5651097"/>
            <a:ext cx="26871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São Paulo, 02 de outubro de 2014</a:t>
            </a:r>
            <a:endParaRPr lang="pt-BR" sz="11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pic>
        <p:nvPicPr>
          <p:cNvPr id="2121" name="Picture 73" descr="http://www.astronautasfx.com/img/capa/leite_cemil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005" t="27635" r="4844" b="18605"/>
          <a:stretch/>
        </p:blipFill>
        <p:spPr bwMode="auto">
          <a:xfrm>
            <a:off x="6875855" y="3017520"/>
            <a:ext cx="2526030" cy="128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50747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584" y="0"/>
            <a:ext cx="10709648" cy="7571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800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567051" y="2666281"/>
            <a:ext cx="9445629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>
                <a:latin typeface="Arial" panose="020B0604020202020204" pitchFamily="34" charset="0"/>
                <a:cs typeface="Arial" panose="020B0604020202020204" pitchFamily="34" charset="0"/>
              </a:rPr>
              <a:t>INVESTIMENTOS EM </a:t>
            </a:r>
            <a:r>
              <a:rPr lang="pt-BR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MÍDIA</a:t>
            </a:r>
            <a:endParaRPr lang="pt-BR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pt-BR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CATEGORIA: LEITES PUROS E ADITIVADOS</a:t>
            </a:r>
          </a:p>
          <a:p>
            <a:pPr algn="ctr"/>
            <a:r>
              <a:rPr lang="pt-BR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PRAÇA: BELO HORIZONTE</a:t>
            </a:r>
            <a:r>
              <a:rPr lang="pt-B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pt-B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sz="22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173121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ector reto 6"/>
          <p:cNvCxnSpPr/>
          <p:nvPr/>
        </p:nvCxnSpPr>
        <p:spPr>
          <a:xfrm>
            <a:off x="277872" y="233798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/>
          <p:cNvSpPr txBox="1"/>
          <p:nvPr/>
        </p:nvSpPr>
        <p:spPr>
          <a:xfrm>
            <a:off x="304552" y="1987729"/>
            <a:ext cx="38834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3 (</a:t>
            </a:r>
            <a:r>
              <a:rPr lang="pt-BR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n</a:t>
            </a:r>
            <a:r>
              <a:rPr lang="pt-B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dez): Investimento R$ 6,0 milhões </a:t>
            </a:r>
            <a:endParaRPr lang="pt-BR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" name="Conector reto 9"/>
          <p:cNvCxnSpPr/>
          <p:nvPr/>
        </p:nvCxnSpPr>
        <p:spPr>
          <a:xfrm>
            <a:off x="5462448" y="233798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aixaDeTexto 10"/>
          <p:cNvSpPr txBox="1"/>
          <p:nvPr/>
        </p:nvSpPr>
        <p:spPr>
          <a:xfrm>
            <a:off x="5489128" y="1987729"/>
            <a:ext cx="38834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4 (</a:t>
            </a:r>
            <a:r>
              <a:rPr lang="pt-BR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n-ago</a:t>
            </a:r>
            <a:r>
              <a:rPr lang="pt-B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): Investimento R$ 6,1 milhões </a:t>
            </a:r>
            <a:endParaRPr lang="pt-BR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193989" y="1062297"/>
            <a:ext cx="10262582" cy="677114"/>
          </a:xfrm>
          <a:prstGeom prst="rect">
            <a:avLst/>
          </a:prstGeom>
          <a:noFill/>
        </p:spPr>
        <p:txBody>
          <a:bodyPr wrap="square" lIns="91444" tIns="45723" rIns="91444" bIns="45723" rtlCol="0">
            <a:spAutoFit/>
          </a:bodyPr>
          <a:lstStyle/>
          <a:p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O principal meio de veiculação da categoria é a TV Aberta. Os investimentos realizados até agosto de 2014 já superam os investimentos do ano anterior.</a:t>
            </a:r>
            <a:endParaRPr lang="pt-BR" sz="1900" dirty="0">
              <a:solidFill>
                <a:srgbClr val="009A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5981578" y="6913077"/>
            <a:ext cx="44502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Fonte: Ibope Monitor com descontos estimados – Valores líquidos R$ (000)</a:t>
            </a:r>
          </a:p>
        </p:txBody>
      </p:sp>
      <p:graphicFrame>
        <p:nvGraphicFramePr>
          <p:cNvPr id="5" name="Gráfico 4"/>
          <p:cNvGraphicFramePr/>
          <p:nvPr>
            <p:extLst>
              <p:ext uri="{D42A27DB-BD31-4B8C-83A1-F6EECF244321}">
                <p14:modId xmlns:p14="http://schemas.microsoft.com/office/powerpoint/2010/main" val="374701581"/>
              </p:ext>
            </p:extLst>
          </p:nvPr>
        </p:nvGraphicFramePr>
        <p:xfrm>
          <a:off x="304552" y="2560602"/>
          <a:ext cx="4127871" cy="36801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Gráfico 15"/>
          <p:cNvGraphicFramePr/>
          <p:nvPr>
            <p:extLst>
              <p:ext uri="{D42A27DB-BD31-4B8C-83A1-F6EECF244321}">
                <p14:modId xmlns:p14="http://schemas.microsoft.com/office/powerpoint/2010/main" val="3514277155"/>
              </p:ext>
            </p:extLst>
          </p:nvPr>
        </p:nvGraphicFramePr>
        <p:xfrm>
          <a:off x="5489128" y="2560602"/>
          <a:ext cx="4127871" cy="36801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CaixaDeTexto 16"/>
          <p:cNvSpPr txBox="1"/>
          <p:nvPr/>
        </p:nvSpPr>
        <p:spPr>
          <a:xfrm>
            <a:off x="4526278" y="3009156"/>
            <a:ext cx="5693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/>
              <a:t>88,6%</a:t>
            </a:r>
            <a:endParaRPr lang="pt-BR" sz="1200" dirty="0"/>
          </a:p>
        </p:txBody>
      </p:sp>
      <p:sp>
        <p:nvSpPr>
          <p:cNvPr id="18" name="CaixaDeTexto 17"/>
          <p:cNvSpPr txBox="1"/>
          <p:nvPr/>
        </p:nvSpPr>
        <p:spPr>
          <a:xfrm>
            <a:off x="4526278" y="3854731"/>
            <a:ext cx="5693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/>
              <a:t>10,9%</a:t>
            </a:r>
            <a:endParaRPr lang="pt-BR" sz="1200" dirty="0"/>
          </a:p>
        </p:txBody>
      </p:sp>
      <p:sp>
        <p:nvSpPr>
          <p:cNvPr id="19" name="CaixaDeTexto 18"/>
          <p:cNvSpPr txBox="1"/>
          <p:nvPr/>
        </p:nvSpPr>
        <p:spPr>
          <a:xfrm>
            <a:off x="4526278" y="4700306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/>
              <a:t>0,4%</a:t>
            </a:r>
            <a:endParaRPr lang="pt-BR" sz="1200" dirty="0"/>
          </a:p>
        </p:txBody>
      </p:sp>
      <p:sp>
        <p:nvSpPr>
          <p:cNvPr id="20" name="CaixaDeTexto 19"/>
          <p:cNvSpPr txBox="1"/>
          <p:nvPr/>
        </p:nvSpPr>
        <p:spPr>
          <a:xfrm>
            <a:off x="4526278" y="5545880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/>
              <a:t>0,1%</a:t>
            </a:r>
            <a:endParaRPr lang="pt-BR" sz="1200" dirty="0"/>
          </a:p>
        </p:txBody>
      </p:sp>
      <p:sp>
        <p:nvSpPr>
          <p:cNvPr id="22" name="CaixaDeTexto 21"/>
          <p:cNvSpPr txBox="1"/>
          <p:nvPr/>
        </p:nvSpPr>
        <p:spPr>
          <a:xfrm>
            <a:off x="9726928" y="3009156"/>
            <a:ext cx="5693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/>
              <a:t>94,2%</a:t>
            </a:r>
            <a:endParaRPr lang="pt-BR" sz="1200" dirty="0"/>
          </a:p>
        </p:txBody>
      </p:sp>
      <p:sp>
        <p:nvSpPr>
          <p:cNvPr id="23" name="CaixaDeTexto 22"/>
          <p:cNvSpPr txBox="1"/>
          <p:nvPr/>
        </p:nvSpPr>
        <p:spPr>
          <a:xfrm>
            <a:off x="9726928" y="3854731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/>
              <a:t>3,4%</a:t>
            </a:r>
            <a:endParaRPr lang="pt-BR" sz="1200" dirty="0"/>
          </a:p>
        </p:txBody>
      </p:sp>
      <p:sp>
        <p:nvSpPr>
          <p:cNvPr id="24" name="CaixaDeTexto 23"/>
          <p:cNvSpPr txBox="1"/>
          <p:nvPr/>
        </p:nvSpPr>
        <p:spPr>
          <a:xfrm>
            <a:off x="9726928" y="4700306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/>
              <a:t>1,4%</a:t>
            </a:r>
            <a:endParaRPr lang="pt-BR" sz="1200" dirty="0"/>
          </a:p>
        </p:txBody>
      </p:sp>
      <p:sp>
        <p:nvSpPr>
          <p:cNvPr id="25" name="CaixaDeTexto 24"/>
          <p:cNvSpPr txBox="1"/>
          <p:nvPr/>
        </p:nvSpPr>
        <p:spPr>
          <a:xfrm>
            <a:off x="9726928" y="5545880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/>
              <a:t>1,0%</a:t>
            </a:r>
            <a:endParaRPr lang="pt-BR" sz="1200" dirty="0"/>
          </a:p>
        </p:txBody>
      </p:sp>
      <p:sp>
        <p:nvSpPr>
          <p:cNvPr id="26" name="CaixaDeTexto 25"/>
          <p:cNvSpPr txBox="1"/>
          <p:nvPr/>
        </p:nvSpPr>
        <p:spPr>
          <a:xfrm>
            <a:off x="4301550" y="1986240"/>
            <a:ext cx="9146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hare</a:t>
            </a:r>
            <a:r>
              <a:rPr lang="pt-B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%</a:t>
            </a:r>
            <a:endParaRPr lang="pt-BR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CaixaDeTexto 26"/>
          <p:cNvSpPr txBox="1"/>
          <p:nvPr/>
        </p:nvSpPr>
        <p:spPr>
          <a:xfrm>
            <a:off x="9502200" y="1986240"/>
            <a:ext cx="9146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hare</a:t>
            </a:r>
            <a:r>
              <a:rPr lang="pt-B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%</a:t>
            </a:r>
            <a:endParaRPr lang="pt-BR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8" name="Conector reto 27"/>
          <p:cNvCxnSpPr/>
          <p:nvPr/>
        </p:nvCxnSpPr>
        <p:spPr>
          <a:xfrm flipV="1">
            <a:off x="5368354" y="2490387"/>
            <a:ext cx="0" cy="37503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22176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Gráfico 5"/>
          <p:cNvGraphicFramePr/>
          <p:nvPr>
            <p:extLst>
              <p:ext uri="{D42A27DB-BD31-4B8C-83A1-F6EECF244321}">
                <p14:modId xmlns:p14="http://schemas.microsoft.com/office/powerpoint/2010/main" val="93540491"/>
              </p:ext>
            </p:extLst>
          </p:nvPr>
        </p:nvGraphicFramePr>
        <p:xfrm>
          <a:off x="232544" y="2655650"/>
          <a:ext cx="5112569" cy="4053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7" name="Conector reto 6"/>
          <p:cNvCxnSpPr/>
          <p:nvPr/>
        </p:nvCxnSpPr>
        <p:spPr>
          <a:xfrm>
            <a:off x="277872" y="245228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/>
          <p:cNvSpPr txBox="1"/>
          <p:nvPr/>
        </p:nvSpPr>
        <p:spPr>
          <a:xfrm>
            <a:off x="304552" y="2067739"/>
            <a:ext cx="4968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2013 (</a:t>
            </a:r>
            <a:r>
              <a:rPr lang="pt-BR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n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-dez): Investimento R$ 6,0 milhões </a:t>
            </a:r>
            <a:endParaRPr lang="pt-BR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Gráfico 8"/>
          <p:cNvGraphicFramePr/>
          <p:nvPr>
            <p:extLst>
              <p:ext uri="{D42A27DB-BD31-4B8C-83A1-F6EECF244321}">
                <p14:modId xmlns:p14="http://schemas.microsoft.com/office/powerpoint/2010/main" val="3758924895"/>
              </p:ext>
            </p:extLst>
          </p:nvPr>
        </p:nvGraphicFramePr>
        <p:xfrm>
          <a:off x="5489128" y="2662619"/>
          <a:ext cx="5112569" cy="40467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0" name="Conector reto 9"/>
          <p:cNvCxnSpPr/>
          <p:nvPr/>
        </p:nvCxnSpPr>
        <p:spPr>
          <a:xfrm>
            <a:off x="5462448" y="245228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aixaDeTexto 10"/>
          <p:cNvSpPr txBox="1"/>
          <p:nvPr/>
        </p:nvSpPr>
        <p:spPr>
          <a:xfrm>
            <a:off x="5489128" y="2067739"/>
            <a:ext cx="4968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2014 (</a:t>
            </a:r>
            <a:r>
              <a:rPr lang="pt-BR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n-ago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): Investimento R$ 6,1 milhões </a:t>
            </a:r>
            <a:endParaRPr lang="pt-BR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193989" y="1062297"/>
            <a:ext cx="10262582" cy="677114"/>
          </a:xfrm>
          <a:prstGeom prst="rect">
            <a:avLst/>
          </a:prstGeom>
          <a:noFill/>
        </p:spPr>
        <p:txBody>
          <a:bodyPr wrap="square" lIns="91444" tIns="45723" rIns="91444" bIns="45723" rtlCol="0">
            <a:spAutoFit/>
          </a:bodyPr>
          <a:lstStyle/>
          <a:p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Considerando os anunciantes presentes nesta categoria na praça de Belo Horizonte, a </a:t>
            </a:r>
            <a:r>
              <a:rPr lang="pt-BR" sz="19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emil</a:t>
            </a:r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 tem baixo investimento no mercado publicitário comparado às suas concorrentes.</a:t>
            </a:r>
            <a:endParaRPr lang="pt-BR" sz="1900" dirty="0">
              <a:solidFill>
                <a:srgbClr val="009A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Elipse 12"/>
          <p:cNvSpPr/>
          <p:nvPr/>
        </p:nvSpPr>
        <p:spPr>
          <a:xfrm>
            <a:off x="1252502" y="2522319"/>
            <a:ext cx="747747" cy="670480"/>
          </a:xfrm>
          <a:prstGeom prst="ellipse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Elipse 13"/>
          <p:cNvSpPr/>
          <p:nvPr/>
        </p:nvSpPr>
        <p:spPr>
          <a:xfrm>
            <a:off x="9258300" y="3157276"/>
            <a:ext cx="742950" cy="671773"/>
          </a:xfrm>
          <a:prstGeom prst="ellipse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CaixaDeTexto 14"/>
          <p:cNvSpPr txBox="1"/>
          <p:nvPr/>
        </p:nvSpPr>
        <p:spPr>
          <a:xfrm>
            <a:off x="5981578" y="6913077"/>
            <a:ext cx="44502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Fonte: Ibope Monitor com descontos estimados – Valores líquidos R$ (000)</a:t>
            </a:r>
          </a:p>
        </p:txBody>
      </p:sp>
    </p:spTree>
    <p:extLst>
      <p:ext uri="{BB962C8B-B14F-4D97-AF65-F5344CB8AC3E}">
        <p14:creationId xmlns:p14="http://schemas.microsoft.com/office/powerpoint/2010/main" val="27831463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1548995" y="3244944"/>
            <a:ext cx="7684549" cy="1028654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spAutoFit/>
          </a:bodyPr>
          <a:lstStyle>
            <a:defPPr>
              <a:defRPr lang="pt-BR"/>
            </a:defPPr>
            <a:lvl1pPr algn="ctr"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dirty="0"/>
              <a:t>INVESTIMENTOS EM MÍDIA </a:t>
            </a:r>
          </a:p>
          <a:p>
            <a:r>
              <a:rPr lang="pt-BR" dirty="0" smtClean="0"/>
              <a:t>CEMIL COOP MINEIRA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99253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193989" y="1130877"/>
            <a:ext cx="10262582" cy="969502"/>
          </a:xfrm>
          <a:prstGeom prst="rect">
            <a:avLst/>
          </a:prstGeom>
          <a:noFill/>
        </p:spPr>
        <p:txBody>
          <a:bodyPr wrap="square" lIns="91444" tIns="45723" rIns="91444" bIns="45723" rtlCol="0">
            <a:spAutoFit/>
          </a:bodyPr>
          <a:lstStyle/>
          <a:p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De acordo com o Ibope Monitor e considerando descontos estimados, a CEMIL concentra seus investimentos em TV Aberta. Até o mês de agosto, seus investimentos em 2014 representam apenas 11% do investimento realizado em 2013. </a:t>
            </a:r>
            <a:endParaRPr lang="pt-BR" sz="1900" dirty="0">
              <a:solidFill>
                <a:srgbClr val="009A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Conector reto 6"/>
          <p:cNvCxnSpPr/>
          <p:nvPr/>
        </p:nvCxnSpPr>
        <p:spPr>
          <a:xfrm>
            <a:off x="160536" y="266565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/>
          <p:cNvSpPr txBox="1"/>
          <p:nvPr/>
        </p:nvSpPr>
        <p:spPr>
          <a:xfrm>
            <a:off x="173876" y="2341687"/>
            <a:ext cx="41631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013 (</a:t>
            </a:r>
            <a:r>
              <a:rPr lang="pt-BR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n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-dez): Investimento R$ 202,9 mil</a:t>
            </a:r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Conector reto 8"/>
          <p:cNvCxnSpPr/>
          <p:nvPr/>
        </p:nvCxnSpPr>
        <p:spPr>
          <a:xfrm>
            <a:off x="5335910" y="2592829"/>
            <a:ext cx="9202" cy="410400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Gráfico 9"/>
          <p:cNvGraphicFramePr/>
          <p:nvPr>
            <p:extLst>
              <p:ext uri="{D42A27DB-BD31-4B8C-83A1-F6EECF244321}">
                <p14:modId xmlns:p14="http://schemas.microsoft.com/office/powerpoint/2010/main" val="370480554"/>
              </p:ext>
            </p:extLst>
          </p:nvPr>
        </p:nvGraphicFramePr>
        <p:xfrm>
          <a:off x="110449" y="2881987"/>
          <a:ext cx="4494670" cy="3773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CaixaDeTexto 10"/>
          <p:cNvSpPr txBox="1"/>
          <p:nvPr/>
        </p:nvSpPr>
        <p:spPr>
          <a:xfrm>
            <a:off x="4452945" y="2341687"/>
            <a:ext cx="7481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hare</a:t>
            </a:r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4517480" y="3388423"/>
            <a:ext cx="6190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85,6%</a:t>
            </a:r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4559959" y="4506329"/>
            <a:ext cx="6190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10,7%</a:t>
            </a:r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Conector reto 13"/>
          <p:cNvCxnSpPr/>
          <p:nvPr/>
        </p:nvCxnSpPr>
        <p:spPr>
          <a:xfrm>
            <a:off x="5450777" y="266565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ixaDeTexto 14"/>
          <p:cNvSpPr txBox="1"/>
          <p:nvPr/>
        </p:nvSpPr>
        <p:spPr>
          <a:xfrm>
            <a:off x="5464117" y="2341687"/>
            <a:ext cx="41631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014 (</a:t>
            </a:r>
            <a:r>
              <a:rPr lang="pt-BR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n-ago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: Investimento R$ 22,6 mil</a:t>
            </a:r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Gráfico 15"/>
          <p:cNvGraphicFramePr/>
          <p:nvPr>
            <p:extLst>
              <p:ext uri="{D42A27DB-BD31-4B8C-83A1-F6EECF244321}">
                <p14:modId xmlns:p14="http://schemas.microsoft.com/office/powerpoint/2010/main" val="3386920007"/>
              </p:ext>
            </p:extLst>
          </p:nvPr>
        </p:nvGraphicFramePr>
        <p:xfrm>
          <a:off x="5400690" y="2881987"/>
          <a:ext cx="4494670" cy="3773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CaixaDeTexto 16"/>
          <p:cNvSpPr txBox="1"/>
          <p:nvPr/>
        </p:nvSpPr>
        <p:spPr>
          <a:xfrm>
            <a:off x="9743186" y="2341687"/>
            <a:ext cx="7481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hare</a:t>
            </a:r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9856481" y="3650081"/>
            <a:ext cx="6190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65,3%</a:t>
            </a:r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9898961" y="5469005"/>
            <a:ext cx="6190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34,7%</a:t>
            </a:r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CaixaDeTexto 33"/>
          <p:cNvSpPr txBox="1"/>
          <p:nvPr/>
        </p:nvSpPr>
        <p:spPr>
          <a:xfrm>
            <a:off x="5894486" y="6980025"/>
            <a:ext cx="44502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Fonte: Ibope Monitor com descontos estimados – Valores líquidos R$ (000)</a:t>
            </a:r>
          </a:p>
        </p:txBody>
      </p:sp>
      <p:sp>
        <p:nvSpPr>
          <p:cNvPr id="20" name="CaixaDeTexto 19"/>
          <p:cNvSpPr txBox="1"/>
          <p:nvPr/>
        </p:nvSpPr>
        <p:spPr>
          <a:xfrm>
            <a:off x="4559959" y="5705872"/>
            <a:ext cx="5341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3,7%</a:t>
            </a:r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95240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537211" y="3004914"/>
            <a:ext cx="9681210" cy="1028654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spAutoFit/>
          </a:bodyPr>
          <a:lstStyle>
            <a:defPPr>
              <a:defRPr lang="pt-BR"/>
            </a:defPPr>
            <a:lvl1pPr algn="ctr"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ANÁLISE DOS INVESTIMENTOS </a:t>
            </a:r>
            <a:r>
              <a:rPr lang="pt-BR" dirty="0"/>
              <a:t>EM </a:t>
            </a:r>
            <a:r>
              <a:rPr lang="pt-BR" dirty="0" smtClean="0"/>
              <a:t>TV ABERTA PRAÇA: BELO HORIZONTE</a:t>
            </a:r>
          </a:p>
        </p:txBody>
      </p:sp>
    </p:spTree>
    <p:extLst>
      <p:ext uri="{BB962C8B-B14F-4D97-AF65-F5344CB8AC3E}">
        <p14:creationId xmlns:p14="http://schemas.microsoft.com/office/powerpoint/2010/main" val="21105323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aixaDeTexto 11"/>
          <p:cNvSpPr txBox="1"/>
          <p:nvPr/>
        </p:nvSpPr>
        <p:spPr>
          <a:xfrm>
            <a:off x="193989" y="1062297"/>
            <a:ext cx="10262582" cy="677114"/>
          </a:xfrm>
          <a:prstGeom prst="rect">
            <a:avLst/>
          </a:prstGeom>
          <a:noFill/>
        </p:spPr>
        <p:txBody>
          <a:bodyPr wrap="square" lIns="91444" tIns="45723" rIns="91444" bIns="45723" rtlCol="0">
            <a:spAutoFit/>
          </a:bodyPr>
          <a:lstStyle/>
          <a:p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Em 2014, a Band TV tem a maior participação do investimentos da categoria comparado às emissoras concorrentes. Porém...</a:t>
            </a:r>
            <a:endParaRPr lang="pt-BR" sz="1900" dirty="0">
              <a:solidFill>
                <a:srgbClr val="009A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5981578" y="6913077"/>
            <a:ext cx="44502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Fonte: Ibope Monitor com descontos estimados – Valores líquidos R$ (000)</a:t>
            </a:r>
          </a:p>
        </p:txBody>
      </p:sp>
      <p:graphicFrame>
        <p:nvGraphicFramePr>
          <p:cNvPr id="4" name="Gráfico 3"/>
          <p:cNvGraphicFramePr/>
          <p:nvPr>
            <p:extLst>
              <p:ext uri="{D42A27DB-BD31-4B8C-83A1-F6EECF244321}">
                <p14:modId xmlns:p14="http://schemas.microsoft.com/office/powerpoint/2010/main" val="1285879241"/>
              </p:ext>
            </p:extLst>
          </p:nvPr>
        </p:nvGraphicFramePr>
        <p:xfrm>
          <a:off x="1428751" y="2208041"/>
          <a:ext cx="7638468" cy="44172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750964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193989" y="970857"/>
            <a:ext cx="10262582" cy="969502"/>
          </a:xfrm>
          <a:prstGeom prst="rect">
            <a:avLst/>
          </a:prstGeom>
          <a:noFill/>
        </p:spPr>
        <p:txBody>
          <a:bodyPr wrap="square" lIns="91444" tIns="45723" rIns="91444" bIns="45723" rtlCol="0">
            <a:spAutoFit/>
          </a:bodyPr>
          <a:lstStyle/>
          <a:p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...a única emissora com participação nos investimentos da </a:t>
            </a:r>
            <a:r>
              <a:rPr lang="pt-BR" sz="19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emil</a:t>
            </a:r>
            <a:r>
              <a:rPr lang="pt-BR" sz="1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foi o </a:t>
            </a:r>
            <a:r>
              <a:rPr lang="pt-BR" sz="19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bt</a:t>
            </a:r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, mesmo este apresentando 13,1% de participação no </a:t>
            </a:r>
            <a:r>
              <a:rPr lang="pt-BR" sz="19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hare</a:t>
            </a:r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 de audiência entre as principais emissoras de TV Aberta.</a:t>
            </a:r>
            <a:endParaRPr lang="pt-BR" sz="1900" dirty="0">
              <a:solidFill>
                <a:srgbClr val="009A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CaixaDeTexto 33"/>
          <p:cNvSpPr txBox="1"/>
          <p:nvPr/>
        </p:nvSpPr>
        <p:spPr>
          <a:xfrm>
            <a:off x="5894486" y="6836674"/>
            <a:ext cx="471635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onte</a:t>
            </a:r>
            <a:r>
              <a:rPr lang="pt-BR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: Ibope Monitor com descontos estimados – Valores líquidos R$ (000)</a:t>
            </a:r>
          </a:p>
          <a:p>
            <a:r>
              <a:rPr lang="pt-BR" sz="1000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pt-BR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Ibope Media Workstation – Target: Audiência Domiciliar Praça: Belo Horizonte</a:t>
            </a:r>
          </a:p>
        </p:txBody>
      </p:sp>
      <p:graphicFrame>
        <p:nvGraphicFramePr>
          <p:cNvPr id="8" name="Gráfico 7"/>
          <p:cNvGraphicFramePr/>
          <p:nvPr>
            <p:extLst>
              <p:ext uri="{D42A27DB-BD31-4B8C-83A1-F6EECF244321}">
                <p14:modId xmlns:p14="http://schemas.microsoft.com/office/powerpoint/2010/main" val="592768741"/>
              </p:ext>
            </p:extLst>
          </p:nvPr>
        </p:nvGraphicFramePr>
        <p:xfrm>
          <a:off x="88528" y="2846115"/>
          <a:ext cx="5256585" cy="3168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CaixaDeTexto 8"/>
          <p:cNvSpPr txBox="1"/>
          <p:nvPr/>
        </p:nvSpPr>
        <p:spPr>
          <a:xfrm>
            <a:off x="356728" y="2286268"/>
            <a:ext cx="49685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013 (</a:t>
            </a:r>
            <a:r>
              <a:rPr lang="pt-BR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n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-dez): Investimento R$ 202,9 mil </a:t>
            </a:r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Gráfico 9"/>
          <p:cNvGraphicFramePr/>
          <p:nvPr>
            <p:extLst>
              <p:ext uri="{D42A27DB-BD31-4B8C-83A1-F6EECF244321}">
                <p14:modId xmlns:p14="http://schemas.microsoft.com/office/powerpoint/2010/main" val="3092980704"/>
              </p:ext>
            </p:extLst>
          </p:nvPr>
        </p:nvGraphicFramePr>
        <p:xfrm>
          <a:off x="5199986" y="2846115"/>
          <a:ext cx="5256585" cy="3168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CaixaDeTexto 10"/>
          <p:cNvSpPr txBox="1"/>
          <p:nvPr/>
        </p:nvSpPr>
        <p:spPr>
          <a:xfrm>
            <a:off x="5720086" y="2286268"/>
            <a:ext cx="49685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014 (</a:t>
            </a:r>
            <a:r>
              <a:rPr lang="pt-BR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n-ago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: Investimento R$ 14,7 mil </a:t>
            </a:r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Conector reto 11"/>
          <p:cNvCxnSpPr/>
          <p:nvPr/>
        </p:nvCxnSpPr>
        <p:spPr>
          <a:xfrm>
            <a:off x="160536" y="266565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/>
          <p:cNvCxnSpPr/>
          <p:nvPr/>
        </p:nvCxnSpPr>
        <p:spPr>
          <a:xfrm>
            <a:off x="5450777" y="266565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67250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51</TotalTime>
  <Words>461</Words>
  <Application>Microsoft Macintosh PowerPoint</Application>
  <PresentationFormat>Custom</PresentationFormat>
  <Paragraphs>75</Paragraphs>
  <Slides>10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Office Theme</vt:lpstr>
      <vt:lpstr>Slide do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gencia</dc:creator>
  <cp:lastModifiedBy>Felipe Rodrigues Pereira</cp:lastModifiedBy>
  <cp:revision>59</cp:revision>
  <dcterms:created xsi:type="dcterms:W3CDTF">2014-04-01T20:14:56Z</dcterms:created>
  <dcterms:modified xsi:type="dcterms:W3CDTF">2014-10-24T20:05:44Z</dcterms:modified>
</cp:coreProperties>
</file>